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833068992313475</c:v>
                </c:pt>
                <c:pt idx="1">
                  <c:v>39.823193747202474</c:v>
                </c:pt>
                <c:pt idx="2">
                  <c:v>42.450381278278314</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168229</c:v>
                </c:pt>
                <c:pt idx="1">
                  <c:v>2.896887999999997</c:v>
                </c:pt>
                <c:pt idx="2">
                  <c:v>2.4460119999999961</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9.001297992313475</c:v>
                </c:pt>
                <c:pt idx="1">
                  <c:v>42.720081747202471</c:v>
                </c:pt>
                <c:pt idx="2">
                  <c:v>44.89639327827831</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5.851828559934688</c:v>
                </c:pt>
                <c:pt idx="1">
                  <c:v>97.453192827693641</c:v>
                </c:pt>
                <c:pt idx="2">
                  <c:v>101.96644480994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8682983682983685</c:v>
                </c:pt>
                <c:pt idx="1">
                  <c:v>10.134904148614162</c:v>
                </c:pt>
                <c:pt idx="2">
                  <c:v>10.85444240014244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8.720126928233057</c:v>
                </c:pt>
                <c:pt idx="1">
                  <c:v>107.58809697630781</c:v>
                </c:pt>
                <c:pt idx="2">
                  <c:v>112.82088721008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101.96644480994006</c:v>
                </c:pt>
                <c:pt idx="2">
                  <c:v>100.5984197826342</c:v>
                </c:pt>
                <c:pt idx="3">
                  <c:v>115.89178207349904</c:v>
                </c:pt>
                <c:pt idx="4">
                  <c:v>100.88528787600596</c:v>
                </c:pt>
                <c:pt idx="5">
                  <c:v>163.33582105311169</c:v>
                </c:pt>
                <c:pt idx="7">
                  <c:v>120.17782769631273</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10.854442400142442</c:v>
                </c:pt>
                <c:pt idx="2">
                  <c:v>144.88256017052015</c:v>
                </c:pt>
                <c:pt idx="3">
                  <c:v>210.60404829545453</c:v>
                </c:pt>
                <c:pt idx="4">
                  <c:v>80.152604941947004</c:v>
                </c:pt>
                <c:pt idx="5">
                  <c:v>213.49609700869979</c:v>
                </c:pt>
                <c:pt idx="7">
                  <c:v>162.28382760415536</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112.8208872100825</c:v>
                </c:pt>
                <c:pt idx="2">
                  <c:v>245.4809799531543</c:v>
                </c:pt>
                <c:pt idx="3">
                  <c:v>326.49583036895365</c:v>
                </c:pt>
                <c:pt idx="4">
                  <c:v>181.03789281795298</c:v>
                </c:pt>
                <c:pt idx="5">
                  <c:v>376.83191806181145</c:v>
                </c:pt>
                <c:pt idx="7">
                  <c:v>282.46165530046807</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6341328872725343</c:v>
                </c:pt>
                <c:pt idx="2">
                  <c:v>3.2925985897448955</c:v>
                </c:pt>
                <c:pt idx="3">
                  <c:v>3.297581790431424</c:v>
                </c:pt>
                <c:pt idx="4">
                  <c:v>3.3799566919076205</c:v>
                </c:pt>
                <c:pt idx="6">
                  <c:v>3.6058721931458257</c:v>
                </c:pt>
                <c:pt idx="7">
                  <c:v>3.6058721931458257</c:v>
                </c:pt>
                <c:pt idx="8">
                  <c:v>3.6178636853890107</c:v>
                </c:pt>
                <c:pt idx="9">
                  <c:v>3.777591257205360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5381538872725344</c:v>
                </c:pt>
                <c:pt idx="5">
                  <c:v>3.2839776919076207</c:v>
                </c:pt>
                <c:pt idx="10">
                  <c:v>3.43606525720536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65846570247236136</c:v>
                </c:pt>
                <c:pt idx="2">
                  <c:v>4.9832006865283239E-3</c:v>
                </c:pt>
                <c:pt idx="3">
                  <c:v>8.2374901476196555E-2</c:v>
                </c:pt>
                <c:pt idx="7">
                  <c:v>1.1991492243184789E-2</c:v>
                </c:pt>
                <c:pt idx="8">
                  <c:v>0.1597275718163499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1.963149876179513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9.5978999999999995E-2</c:v>
                </c:pt>
                <c:pt idx="5">
                  <c:v>0.341526</c:v>
                </c:pt>
                <c:pt idx="10">
                  <c:v>0.365773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24554700000000002</c:v>
                </c:pt>
                <c:pt idx="9">
                  <c:v>2.424700000000001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6341328872725343</c:v>
                </c:pt>
                <c:pt idx="5">
                  <c:v>3.6255036919076207</c:v>
                </c:pt>
                <c:pt idx="10">
                  <c:v>3.80183825720536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Re-integratie klassiek</c:v>
                </c:pt>
                <c:pt idx="3">
                  <c:v>Inwoners</c:v>
                </c:pt>
                <c:pt idx="4">
                  <c:v>Eenpersoonshuishoudens</c:v>
                </c:pt>
                <c:pt idx="5">
                  <c:v>Klantenpotentieel regionaal</c:v>
                </c:pt>
                <c:pt idx="6">
                  <c:v>Loonkostensubsidie</c:v>
                </c:pt>
                <c:pt idx="7">
                  <c:v>Omgevingsadressendichtheid</c:v>
                </c:pt>
                <c:pt idx="10">
                  <c:v>Overig</c:v>
                </c:pt>
              </c:strCache>
            </c:strRef>
          </c:cat>
          <c:val>
            <c:numRef>
              <c:f>Sheet1!$B$2:$B$12</c:f>
              <c:numCache>
                <c:formatCode>General</c:formatCode>
                <c:ptCount val="11"/>
                <c:pt idx="0">
                  <c:v>1.4113630003200002</c:v>
                </c:pt>
                <c:pt idx="1">
                  <c:v>0.63723298828800012</c:v>
                </c:pt>
                <c:pt idx="2">
                  <c:v>0.59978775024168007</c:v>
                </c:pt>
                <c:pt idx="3">
                  <c:v>0.41610020816000004</c:v>
                </c:pt>
                <c:pt idx="4">
                  <c:v>0.14375890152000001</c:v>
                </c:pt>
                <c:pt idx="5">
                  <c:v>0.13209808040000001</c:v>
                </c:pt>
                <c:pt idx="6">
                  <c:v>5.3553170840000004E-2</c:v>
                </c:pt>
                <c:pt idx="7">
                  <c:v>4.217115743568000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0.24270900000000001</c:v>
                </c:pt>
                <c:pt idx="1">
                  <c:v>9.2879000000000003E-2</c:v>
                </c:pt>
                <c:pt idx="2">
                  <c:v>3.0185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69460573371226675</c:v>
                </c:pt>
                <c:pt idx="1">
                  <c:v>0.71928496510093332</c:v>
                </c:pt>
                <c:pt idx="2">
                  <c:v>0.787359171180920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8952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69460573371226675</c:v>
                </c:pt>
                <c:pt idx="1">
                  <c:v>0.71928496510093332</c:v>
                </c:pt>
                <c:pt idx="2">
                  <c:v>0.826311171180920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758045953985619</c:v>
                </c:pt>
                <c:pt idx="1">
                  <c:v>21.34503427802639</c:v>
                </c:pt>
                <c:pt idx="2">
                  <c:v>23.3651602819431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5914297584426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758045953985619</c:v>
                </c:pt>
                <c:pt idx="1">
                  <c:v>21.34503427802639</c:v>
                </c:pt>
                <c:pt idx="2">
                  <c:v>24.52107457952756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23.36516028194314</c:v>
                </c:pt>
                <c:pt idx="2">
                  <c:v>23.481553831140062</c:v>
                </c:pt>
                <c:pt idx="3">
                  <c:v>24.489182773508521</c:v>
                </c:pt>
                <c:pt idx="4">
                  <c:v>24.000268165816014</c:v>
                </c:pt>
                <c:pt idx="5">
                  <c:v>30.817985827493743</c:v>
                </c:pt>
                <c:pt idx="7">
                  <c:v>25.697247649489583</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1.1559142975844263</c:v>
                </c:pt>
                <c:pt idx="2">
                  <c:v>1.1608987832677107</c:v>
                </c:pt>
                <c:pt idx="3">
                  <c:v>1.1678799715909092</c:v>
                </c:pt>
                <c:pt idx="4">
                  <c:v>1.1635308127418875</c:v>
                </c:pt>
                <c:pt idx="5">
                  <c:v>1.1587415087593851</c:v>
                </c:pt>
                <c:pt idx="7">
                  <c:v>1.1627627690899731</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24.521074579527568</c:v>
                </c:pt>
                <c:pt idx="2">
                  <c:v>24.64245261440777</c:v>
                </c:pt>
                <c:pt idx="3">
                  <c:v>25.657062745099431</c:v>
                </c:pt>
                <c:pt idx="4">
                  <c:v>25.163798978557903</c:v>
                </c:pt>
                <c:pt idx="5">
                  <c:v>31.97672733625312</c:v>
                </c:pt>
                <c:pt idx="7">
                  <c:v>26.860010418579556</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32070119718398477</c:v>
                </c:pt>
                <c:pt idx="2">
                  <c:v>0.3105255415875951</c:v>
                </c:pt>
                <c:pt idx="3">
                  <c:v>0.3105255415875951</c:v>
                </c:pt>
                <c:pt idx="4">
                  <c:v>0.71928496510093332</c:v>
                </c:pt>
                <c:pt idx="6">
                  <c:v>0.71853545770025584</c:v>
                </c:pt>
                <c:pt idx="7">
                  <c:v>0.71853545770025584</c:v>
                </c:pt>
                <c:pt idx="8">
                  <c:v>0.75146827350373957</c:v>
                </c:pt>
                <c:pt idx="9">
                  <c:v>0.7873591711809199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69460573371226675</c:v>
                </c:pt>
                <c:pt idx="5">
                  <c:v>0.7192849651009332</c:v>
                </c:pt>
                <c:pt idx="10">
                  <c:v>0.7873591711809199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0.40875942351333822</c:v>
                </c:pt>
                <c:pt idx="7">
                  <c:v>3.2932815803483707E-2</c:v>
                </c:pt>
                <c:pt idx="8">
                  <c:v>3.589089767718037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37390453652828198</c:v>
                </c:pt>
                <c:pt idx="2">
                  <c:v>1.0175655596389681E-2</c:v>
                </c:pt>
                <c:pt idx="6">
                  <c:v>7.4950740067738044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3.8952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8952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69460573371226675</c:v>
                </c:pt>
                <c:pt idx="5">
                  <c:v>0.7192849651009332</c:v>
                </c:pt>
                <c:pt idx="10">
                  <c:v>0.82631117118091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Eenouderhuishoudens</c:v>
                </c:pt>
                <c:pt idx="4">
                  <c:v>Huishoudens</c:v>
                </c:pt>
                <c:pt idx="5">
                  <c:v>Bijstandsontvangers</c:v>
                </c:pt>
                <c:pt idx="6">
                  <c:v>Omgevingsadressendichtheid</c:v>
                </c:pt>
                <c:pt idx="7">
                  <c:v>Minderheden</c:v>
                </c:pt>
                <c:pt idx="8">
                  <c:v>Klantenpotentieel lokaal</c:v>
                </c:pt>
                <c:pt idx="9">
                  <c:v>Uitkeringsontvangers</c:v>
                </c:pt>
                <c:pt idx="10">
                  <c:v>Overig</c:v>
                </c:pt>
              </c:strCache>
            </c:strRef>
          </c:cat>
          <c:val>
            <c:numRef>
              <c:f>Sheet1!$B$2:$B$12</c:f>
              <c:numCache>
                <c:formatCode>General</c:formatCode>
                <c:ptCount val="11"/>
                <c:pt idx="0">
                  <c:v>0.19714406971999998</c:v>
                </c:pt>
                <c:pt idx="1">
                  <c:v>0.16133389272000004</c:v>
                </c:pt>
                <c:pt idx="2">
                  <c:v>0.10307771832800001</c:v>
                </c:pt>
                <c:pt idx="3">
                  <c:v>6.1156894240000002E-2</c:v>
                </c:pt>
                <c:pt idx="4">
                  <c:v>4.4101418400000002E-2</c:v>
                </c:pt>
                <c:pt idx="5">
                  <c:v>3.8549754880000009E-2</c:v>
                </c:pt>
                <c:pt idx="6">
                  <c:v>3.0066473356920004E-2</c:v>
                </c:pt>
                <c:pt idx="7">
                  <c:v>2.83862722E-2</c:v>
                </c:pt>
                <c:pt idx="8">
                  <c:v>2.4956661600000003E-2</c:v>
                </c:pt>
                <c:pt idx="9">
                  <c:v>2.2832142319999998E-2</c:v>
                </c:pt>
                <c:pt idx="10">
                  <c:v>7.575387341599992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42.12745778236433</c:v>
                </c:pt>
                <c:pt idx="1">
                  <c:v>1181.7672783904823</c:v>
                </c:pt>
                <c:pt idx="2">
                  <c:v>1259.7299922333168</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23.41249775865163</c:v>
                </c:pt>
                <c:pt idx="1">
                  <c:v>85.966170099115587</c:v>
                </c:pt>
                <c:pt idx="2">
                  <c:v>72.586266247254926</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65.5399555410158</c:v>
                </c:pt>
                <c:pt idx="1">
                  <c:v>1267.7334484895978</c:v>
                </c:pt>
                <c:pt idx="2">
                  <c:v>1332.316258480571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3.8952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242375579701334</c:v>
                </c:pt>
                <c:pt idx="1">
                  <c:v>7.0295067940014171</c:v>
                </c:pt>
                <c:pt idx="2">
                  <c:v>7.209019494308243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10432</c:v>
                </c:pt>
                <c:pt idx="2">
                  <c:v>1.460199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242375579701334</c:v>
                </c:pt>
                <c:pt idx="1">
                  <c:v>8.1338267940014166</c:v>
                </c:pt>
                <c:pt idx="2">
                  <c:v>8.669219494308244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3.61747035898486</c:v>
                </c:pt>
                <c:pt idx="1">
                  <c:v>996.10412271523558</c:v>
                </c:pt>
                <c:pt idx="2">
                  <c:v>1021.54165995582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56.48575882102875</c:v>
                </c:pt>
                <c:pt idx="2">
                  <c:v>206.915119739265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3.61747035898486</c:v>
                </c:pt>
                <c:pt idx="1">
                  <c:v>1152.5898815362641</c:v>
                </c:pt>
                <c:pt idx="2">
                  <c:v>1228.456779695089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1021.5416599558231</c:v>
                </c:pt>
                <c:pt idx="2">
                  <c:v>1059.1432092904658</c:v>
                </c:pt>
                <c:pt idx="3">
                  <c:v>1273.4063808820702</c:v>
                </c:pt>
                <c:pt idx="4">
                  <c:v>954.81658497676472</c:v>
                </c:pt>
                <c:pt idx="5">
                  <c:v>1444.949939865289</c:v>
                </c:pt>
                <c:pt idx="7">
                  <c:v>1183.079028753647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206.91511973926598</c:v>
                </c:pt>
                <c:pt idx="2">
                  <c:v>242.8688245315162</c:v>
                </c:pt>
                <c:pt idx="3">
                  <c:v>379.16037119330804</c:v>
                </c:pt>
                <c:pt idx="4">
                  <c:v>535.13872927269745</c:v>
                </c:pt>
                <c:pt idx="5">
                  <c:v>205.98437051907084</c:v>
                </c:pt>
                <c:pt idx="7">
                  <c:v>340.78807387914816</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1228.4567796950892</c:v>
                </c:pt>
                <c:pt idx="2">
                  <c:v>1302.012033821982</c:v>
                </c:pt>
                <c:pt idx="3">
                  <c:v>1652.5667520753782</c:v>
                </c:pt>
                <c:pt idx="4">
                  <c:v>1489.9553142494619</c:v>
                </c:pt>
                <c:pt idx="5">
                  <c:v>1650.9343103843598</c:v>
                </c:pt>
                <c:pt idx="7">
                  <c:v>1523.8671026327956</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526105998961057</c:v>
                </c:pt>
                <c:pt idx="2">
                  <c:v>1.0526105998961057</c:v>
                </c:pt>
                <c:pt idx="3">
                  <c:v>6.9955708159671728</c:v>
                </c:pt>
                <c:pt idx="4">
                  <c:v>7.029506794001418</c:v>
                </c:pt>
                <c:pt idx="6">
                  <c:v>8.1325289763034991</c:v>
                </c:pt>
                <c:pt idx="7">
                  <c:v>7.9842480409074543</c:v>
                </c:pt>
                <c:pt idx="8">
                  <c:v>7.9842480409074543</c:v>
                </c:pt>
                <c:pt idx="9">
                  <c:v>8.31333949430824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1242375579701334</c:v>
                </c:pt>
                <c:pt idx="5">
                  <c:v>7.029506794001418</c:v>
                </c:pt>
                <c:pt idx="10">
                  <c:v>7.209019494308244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9429602160710671</c:v>
                </c:pt>
                <c:pt idx="3">
                  <c:v>3.3935978034245209E-2</c:v>
                </c:pt>
                <c:pt idx="8">
                  <c:v>0.329091453400791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1626958074027622E-2</c:v>
                </c:pt>
                <c:pt idx="6">
                  <c:v>1.2978176979194925E-3</c:v>
                </c:pt>
                <c:pt idx="7">
                  <c:v>0.1482809353960449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10432</c:v>
                </c:pt>
                <c:pt idx="10">
                  <c:v>1.460199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10432</c:v>
                </c:pt>
                <c:pt idx="9">
                  <c:v>0.35587999999999997</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1242375579701334</c:v>
                </c:pt>
                <c:pt idx="5">
                  <c:v>8.1338267940014184</c:v>
                </c:pt>
                <c:pt idx="10">
                  <c:v>8.669219494308244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 kinderen)</c:v>
                </c:pt>
                <c:pt idx="2">
                  <c:v>Gem. Gestand. inkomen (huishoudens)</c:v>
                </c:pt>
                <c:pt idx="3">
                  <c:v>Uitkeringsont. min. bijstandsont.</c:v>
                </c:pt>
                <c:pt idx="4">
                  <c:v>Ouders lang psychisch medicijngebruik</c:v>
                </c:pt>
                <c:pt idx="5">
                  <c:v>Eenouderhuishoudens</c:v>
                </c:pt>
                <c:pt idx="6">
                  <c:v>Eenouderhuishoudens 2 of meer kinderen</c:v>
                </c:pt>
                <c:pt idx="7">
                  <c:v>Bijstandsont. eenouderhuishoudens</c:v>
                </c:pt>
                <c:pt idx="8">
                  <c:v>Jeugdigen in gezinnen armoederisico</c:v>
                </c:pt>
                <c:pt idx="9">
                  <c:v>Huishoudens laag inkomen (drempel)</c:v>
                </c:pt>
                <c:pt idx="10">
                  <c:v>Overig</c:v>
                </c:pt>
              </c:strCache>
            </c:strRef>
          </c:cat>
          <c:val>
            <c:numRef>
              <c:f>Sheet1!$B$2:$B$12</c:f>
              <c:numCache>
                <c:formatCode>General</c:formatCode>
                <c:ptCount val="11"/>
                <c:pt idx="0">
                  <c:v>5.8020421165200009</c:v>
                </c:pt>
                <c:pt idx="1">
                  <c:v>-2.1661701821032002</c:v>
                </c:pt>
                <c:pt idx="2">
                  <c:v>-2.0673225926079999</c:v>
                </c:pt>
                <c:pt idx="3">
                  <c:v>1.9954289659200004</c:v>
                </c:pt>
                <c:pt idx="4">
                  <c:v>1.276148663080644</c:v>
                </c:pt>
                <c:pt idx="5">
                  <c:v>0.97058362024000011</c:v>
                </c:pt>
                <c:pt idx="6">
                  <c:v>0.65284226799999989</c:v>
                </c:pt>
                <c:pt idx="7">
                  <c:v>0.27242122959999993</c:v>
                </c:pt>
                <c:pt idx="8">
                  <c:v>0.19595278714752001</c:v>
                </c:pt>
                <c:pt idx="9">
                  <c:v>0.19371382399200002</c:v>
                </c:pt>
                <c:pt idx="10">
                  <c:v>8.337879451927943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Jeugdhulp kinderen AZC</c:v>
                </c:pt>
                <c:pt idx="2">
                  <c:v>Transformatiefonds SD Jeugd</c:v>
                </c:pt>
                <c:pt idx="6">
                  <c:v>Suppletie uitkering IUSD</c:v>
                </c:pt>
              </c:strCache>
            </c:strRef>
          </c:cat>
          <c:val>
            <c:numRef>
              <c:f>Sheet1!$B$2:$B$12</c:f>
              <c:numCache>
                <c:formatCode>General</c:formatCode>
                <c:ptCount val="11"/>
                <c:pt idx="0">
                  <c:v>1.499943</c:v>
                </c:pt>
                <c:pt idx="1">
                  <c:v>6.4650000000000003E-3</c:v>
                </c:pt>
                <c:pt idx="2">
                  <c:v>0</c:v>
                </c:pt>
                <c:pt idx="6">
                  <c:v>-4.6207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9814657915170684</c:v>
                </c:pt>
                <c:pt idx="1">
                  <c:v>11.524964368386495</c:v>
                </c:pt>
                <c:pt idx="2">
                  <c:v>12.38297793723313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5444140000000002</c:v>
                </c:pt>
                <c:pt idx="1">
                  <c:v>-4.3179999999999998E-3</c:v>
                </c:pt>
                <c:pt idx="2">
                  <c:v>0.151680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5258797915170685</c:v>
                </c:pt>
                <c:pt idx="1">
                  <c:v>11.520646368386496</c:v>
                </c:pt>
                <c:pt idx="2">
                  <c:v>12.53465793723313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8.98469283118368</c:v>
                </c:pt>
                <c:pt idx="1">
                  <c:v>342.00737041920871</c:v>
                </c:pt>
                <c:pt idx="2">
                  <c:v>367.469224797707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6.038909808140573</c:v>
                </c:pt>
                <c:pt idx="1">
                  <c:v>-0.12813816843729597</c:v>
                </c:pt>
                <c:pt idx="2">
                  <c:v>4.501157338714463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5.02360263932428</c:v>
                </c:pt>
                <c:pt idx="1">
                  <c:v>341.87923225077145</c:v>
                </c:pt>
                <c:pt idx="2">
                  <c:v>371.9703821364216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367.46922479770706</c:v>
                </c:pt>
                <c:pt idx="2">
                  <c:v>410.05091583376259</c:v>
                </c:pt>
                <c:pt idx="3">
                  <c:v>391.70474880087113</c:v>
                </c:pt>
                <c:pt idx="4">
                  <c:v>393.86829014213589</c:v>
                </c:pt>
                <c:pt idx="5">
                  <c:v>411.24635955137762</c:v>
                </c:pt>
                <c:pt idx="7">
                  <c:v>401.71757858203682</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4.5011573387144637</c:v>
                </c:pt>
                <c:pt idx="2">
                  <c:v>0.42097160957991653</c:v>
                </c:pt>
                <c:pt idx="3">
                  <c:v>1.4026988636363635</c:v>
                </c:pt>
                <c:pt idx="4">
                  <c:v>0.56445370646025605</c:v>
                </c:pt>
                <c:pt idx="5">
                  <c:v>0.70611369324276008</c:v>
                </c:pt>
                <c:pt idx="7">
                  <c:v>0.77355946822982413</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371.97038213642162</c:v>
                </c:pt>
                <c:pt idx="2">
                  <c:v>410.47188744334255</c:v>
                </c:pt>
                <c:pt idx="3">
                  <c:v>393.1074476645075</c:v>
                </c:pt>
                <c:pt idx="4">
                  <c:v>394.43274384859615</c:v>
                </c:pt>
                <c:pt idx="5">
                  <c:v>411.95247324462036</c:v>
                </c:pt>
                <c:pt idx="7">
                  <c:v>402.49113805026661</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68284432537905959</c:v>
                </c:pt>
                <c:pt idx="1">
                  <c:v>0.70896063802143505</c:v>
                </c:pt>
                <c:pt idx="2">
                  <c:v>0.7139267962833461</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68284432537905959</c:v>
                </c:pt>
                <c:pt idx="1">
                  <c:v>0.70896063802143505</c:v>
                </c:pt>
                <c:pt idx="2">
                  <c:v>0.7139267962833461</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6.5258797915170685</c:v>
                </c:pt>
                <c:pt idx="2">
                  <c:v>6.6777691904598964</c:v>
                </c:pt>
                <c:pt idx="3">
                  <c:v>13.487025185595623</c:v>
                </c:pt>
                <c:pt idx="4">
                  <c:v>11.520646368386494</c:v>
                </c:pt>
                <c:pt idx="6">
                  <c:v>11.520646368386494</c:v>
                </c:pt>
                <c:pt idx="7">
                  <c:v>11.788310390669389</c:v>
                </c:pt>
                <c:pt idx="8">
                  <c:v>11.806793503974566</c:v>
                </c:pt>
                <c:pt idx="9">
                  <c:v>12.3786599372331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9814657915170684</c:v>
                </c:pt>
                <c:pt idx="5">
                  <c:v>11.524964368386494</c:v>
                </c:pt>
                <c:pt idx="10">
                  <c:v>12.38297793723313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518893989428278</c:v>
                </c:pt>
                <c:pt idx="2">
                  <c:v>6.809255995135727</c:v>
                </c:pt>
                <c:pt idx="3">
                  <c:v>0.58235318279087089</c:v>
                </c:pt>
                <c:pt idx="6">
                  <c:v>0.26766402228289549</c:v>
                </c:pt>
                <c:pt idx="7">
                  <c:v>1.8483113305175911E-2</c:v>
                </c:pt>
                <c:pt idx="8">
                  <c:v>0.5718664332585673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5444140000000002</c:v>
                </c:pt>
                <c:pt idx="5">
                  <c:v>-4.318000000000044E-3</c:v>
                </c:pt>
                <c:pt idx="10">
                  <c:v>0.15167999999999995</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0.155998</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548732000000000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6.5258797915170685</c:v>
                </c:pt>
                <c:pt idx="5">
                  <c:v>11.520646368386494</c:v>
                </c:pt>
                <c:pt idx="10">
                  <c:v>12.53465793723313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Ouderen</c:v>
                </c:pt>
                <c:pt idx="3">
                  <c:v>Huishoudens met laag inkomen (drempel)</c:v>
                </c:pt>
                <c:pt idx="4">
                  <c:v>Wajong</c:v>
                </c:pt>
                <c:pt idx="5">
                  <c:v>Gem. gestandaardiseerd inkomen 75 t/m 84</c:v>
                </c:pt>
                <c:pt idx="6">
                  <c:v>Uitkeringsont. min bijstandsont.</c:v>
                </c:pt>
                <c:pt idx="7">
                  <c:v>Huishoudens</c:v>
                </c:pt>
                <c:pt idx="8">
                  <c:v>Klantenpotentieel lokaal</c:v>
                </c:pt>
                <c:pt idx="9">
                  <c:v>Gem. gestandaardiseerd inkomen 85+</c:v>
                </c:pt>
                <c:pt idx="10">
                  <c:v>Overig</c:v>
                </c:pt>
              </c:strCache>
            </c:strRef>
          </c:cat>
          <c:val>
            <c:numRef>
              <c:f>Sheet1!$B$2:$B$12</c:f>
              <c:numCache>
                <c:formatCode>General</c:formatCode>
                <c:ptCount val="11"/>
                <c:pt idx="0">
                  <c:v>3.098315451233093</c:v>
                </c:pt>
                <c:pt idx="1">
                  <c:v>1.8442039252000002</c:v>
                </c:pt>
                <c:pt idx="2">
                  <c:v>1.2766090693200001</c:v>
                </c:pt>
                <c:pt idx="3">
                  <c:v>1.2387397815520003</c:v>
                </c:pt>
                <c:pt idx="4">
                  <c:v>0.78969258888000016</c:v>
                </c:pt>
                <c:pt idx="5">
                  <c:v>0.47816860132298405</c:v>
                </c:pt>
                <c:pt idx="6">
                  <c:v>0.44770933584</c:v>
                </c:pt>
                <c:pt idx="7">
                  <c:v>0.42998882940000005</c:v>
                </c:pt>
                <c:pt idx="8">
                  <c:v>0.39884442520000002</c:v>
                </c:pt>
                <c:pt idx="9">
                  <c:v>0.34255534953806399</c:v>
                </c:pt>
                <c:pt idx="10">
                  <c:v>2.038150579746991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0.15168000000000001</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6586348058912797</c:v>
                </c:pt>
                <c:pt idx="1">
                  <c:v>2.7416036177346079</c:v>
                </c:pt>
                <c:pt idx="2">
                  <c:v>2.874946291930128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1467000000000001E-2</c:v>
                </c:pt>
                <c:pt idx="1">
                  <c:v>6.1467000000000001E-2</c:v>
                </c:pt>
                <c:pt idx="2">
                  <c:v>6.1467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201018058912796</c:v>
                </c:pt>
                <c:pt idx="1">
                  <c:v>2.8030706177346079</c:v>
                </c:pt>
                <c:pt idx="2">
                  <c:v>2.936413291930128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9.63142640409808</c:v>
                </c:pt>
                <c:pt idx="1">
                  <c:v>388.49420684917214</c:v>
                </c:pt>
                <c:pt idx="2">
                  <c:v>407.3893002593351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852197240674502</c:v>
                </c:pt>
                <c:pt idx="1">
                  <c:v>8.7100751027348728</c:v>
                </c:pt>
                <c:pt idx="2">
                  <c:v>8.710075102734872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47.48362364477254</c:v>
                </c:pt>
                <c:pt idx="1">
                  <c:v>397.20428195190703</c:v>
                </c:pt>
                <c:pt idx="2">
                  <c:v>416.099375362070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407.38930025933519</c:v>
                </c:pt>
                <c:pt idx="2">
                  <c:v>531.39871506720272</c:v>
                </c:pt>
                <c:pt idx="3">
                  <c:v>458.95054877114103</c:v>
                </c:pt>
                <c:pt idx="4">
                  <c:v>590.65642393169981</c:v>
                </c:pt>
                <c:pt idx="5">
                  <c:v>668.06797644393487</c:v>
                </c:pt>
                <c:pt idx="7">
                  <c:v>562.26841605349455</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8.7100751027348728</c:v>
                </c:pt>
                <c:pt idx="2">
                  <c:v>10.528620102214651</c:v>
                </c:pt>
                <c:pt idx="3">
                  <c:v>8.0365965233302834</c:v>
                </c:pt>
                <c:pt idx="4">
                  <c:v>9.7639139714332615</c:v>
                </c:pt>
                <c:pt idx="5">
                  <c:v>8.2774591339260102</c:v>
                </c:pt>
                <c:pt idx="7">
                  <c:v>9.1516474327260511</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416.09937536207008</c:v>
                </c:pt>
                <c:pt idx="2">
                  <c:v>541.92733516941735</c:v>
                </c:pt>
                <c:pt idx="3">
                  <c:v>466.98714529447136</c:v>
                </c:pt>
                <c:pt idx="4">
                  <c:v>600.42033790313303</c:v>
                </c:pt>
                <c:pt idx="5">
                  <c:v>676.34543557786083</c:v>
                </c:pt>
                <c:pt idx="7">
                  <c:v>571.42006348622067</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552528123029278</c:v>
                </c:pt>
                <c:pt idx="2">
                  <c:v>2.552528123029278</c:v>
                </c:pt>
                <c:pt idx="3">
                  <c:v>2.7376598074297802</c:v>
                </c:pt>
                <c:pt idx="4">
                  <c:v>2.8030706177346083</c:v>
                </c:pt>
                <c:pt idx="6">
                  <c:v>2.8026534475026814</c:v>
                </c:pt>
                <c:pt idx="7">
                  <c:v>2.8026534475026814</c:v>
                </c:pt>
                <c:pt idx="8">
                  <c:v>2.8026534475026814</c:v>
                </c:pt>
                <c:pt idx="9">
                  <c:v>2.936413291930128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6586348058912797</c:v>
                </c:pt>
                <c:pt idx="5">
                  <c:v>2.7416036177346079</c:v>
                </c:pt>
                <c:pt idx="10">
                  <c:v>2.874946291930128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8513168440050207</c:v>
                </c:pt>
                <c:pt idx="3">
                  <c:v>6.5410810304827982E-2</c:v>
                </c:pt>
                <c:pt idx="8">
                  <c:v>0.1337598444274469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675736828620018</c:v>
                </c:pt>
                <c:pt idx="6">
                  <c:v>4.1717023192634989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1467000000000001E-2</c:v>
                </c:pt>
                <c:pt idx="5">
                  <c:v>6.1467000000000001E-2</c:v>
                </c:pt>
                <c:pt idx="10">
                  <c:v>6.1467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7201018058912796</c:v>
                </c:pt>
                <c:pt idx="5">
                  <c:v>2.8030706177346079</c:v>
                </c:pt>
                <c:pt idx="10">
                  <c:v>2.936413291930128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and</c:v>
                </c:pt>
                <c:pt idx="2">
                  <c:v>Huishoudens laag inkomen (drempel)</c:v>
                </c:pt>
                <c:pt idx="3">
                  <c:v>Kernen</c:v>
                </c:pt>
                <c:pt idx="4">
                  <c:v>Leerlingen VO</c:v>
                </c:pt>
                <c:pt idx="5">
                  <c:v>Leerlingen (V)SO</c:v>
                </c:pt>
                <c:pt idx="6">
                  <c:v>Inwoners</c:v>
                </c:pt>
                <c:pt idx="7">
                  <c:v>Minderheden</c:v>
                </c:pt>
                <c:pt idx="8">
                  <c:v>Omgevingsadressendichtheid</c:v>
                </c:pt>
                <c:pt idx="9">
                  <c:v>Binnenwater</c:v>
                </c:pt>
                <c:pt idx="10">
                  <c:v>Overig</c:v>
                </c:pt>
              </c:strCache>
            </c:strRef>
          </c:cat>
          <c:val>
            <c:numRef>
              <c:f>Sheet1!$B$2:$B$12</c:f>
              <c:numCache>
                <c:formatCode>General</c:formatCode>
                <c:ptCount val="11"/>
                <c:pt idx="0">
                  <c:v>2.0772364184000001</c:v>
                </c:pt>
                <c:pt idx="1">
                  <c:v>0.19781938488000003</c:v>
                </c:pt>
                <c:pt idx="2">
                  <c:v>0.14495521346800003</c:v>
                </c:pt>
                <c:pt idx="3">
                  <c:v>0.12831426503999999</c:v>
                </c:pt>
                <c:pt idx="4">
                  <c:v>0.10125738022400001</c:v>
                </c:pt>
                <c:pt idx="5">
                  <c:v>8.4541986708608005E-2</c:v>
                </c:pt>
                <c:pt idx="6">
                  <c:v>5.6494023040000001E-2</c:v>
                </c:pt>
                <c:pt idx="7">
                  <c:v>3.9359801E-2</c:v>
                </c:pt>
                <c:pt idx="8">
                  <c:v>3.7225157489519996E-2</c:v>
                </c:pt>
                <c:pt idx="9">
                  <c:v>6.6785804800000006E-3</c:v>
                </c:pt>
                <c:pt idx="10">
                  <c:v>1.064081200000455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6.1467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7902137696853337</c:v>
                </c:pt>
                <c:pt idx="1">
                  <c:v>0.25084663073746671</c:v>
                </c:pt>
                <c:pt idx="2">
                  <c:v>0.262894193793919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7902137696853337</c:v>
                </c:pt>
                <c:pt idx="1">
                  <c:v>0.25084663073746671</c:v>
                </c:pt>
                <c:pt idx="2">
                  <c:v>0.262894193793919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6336155836000001</c:v>
                </c:pt>
                <c:pt idx="1">
                  <c:v>-4.7079404709200006</c:v>
                </c:pt>
                <c:pt idx="2">
                  <c:v>-4.4399743288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336155836000001</c:v>
                </c:pt>
                <c:pt idx="1">
                  <c:v>-4.7079404709200006</c:v>
                </c:pt>
                <c:pt idx="2">
                  <c:v>-4.439974328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3499903463192098</c:v>
                </c:pt>
                <c:pt idx="1">
                  <c:v>7.4439619780837649</c:v>
                </c:pt>
                <c:pt idx="2">
                  <c:v>7.801477648344708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3499903463192098</c:v>
                </c:pt>
                <c:pt idx="1">
                  <c:v>7.4439619780837649</c:v>
                </c:pt>
                <c:pt idx="2">
                  <c:v>7.80147764834470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7.8014776483447088</c:v>
                </c:pt>
                <c:pt idx="2">
                  <c:v>7.4892013818668408</c:v>
                </c:pt>
                <c:pt idx="3">
                  <c:v>8.2336736895833322</c:v>
                </c:pt>
                <c:pt idx="4">
                  <c:v>7.6843698538183993</c:v>
                </c:pt>
                <c:pt idx="5">
                  <c:v>9.5802054274818254</c:v>
                </c:pt>
                <c:pt idx="7">
                  <c:v>8.2468625881876001</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0</c:v>
                </c:pt>
                <c:pt idx="2">
                  <c:v>0.71908582255247344</c:v>
                </c:pt>
                <c:pt idx="3">
                  <c:v>0.79246567234848486</c:v>
                </c:pt>
                <c:pt idx="4">
                  <c:v>0</c:v>
                </c:pt>
                <c:pt idx="5">
                  <c:v>0.79784888571088075</c:v>
                </c:pt>
                <c:pt idx="7">
                  <c:v>0.57735009515295976</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7.8014776483447088</c:v>
                </c:pt>
                <c:pt idx="2">
                  <c:v>8.208287204419312</c:v>
                </c:pt>
                <c:pt idx="3">
                  <c:v>9.0261393619318167</c:v>
                </c:pt>
                <c:pt idx="4">
                  <c:v>7.6843698538183993</c:v>
                </c:pt>
                <c:pt idx="5">
                  <c:v>10.378054313192706</c:v>
                </c:pt>
                <c:pt idx="7">
                  <c:v>8.8242126833405585</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751242854139673</c:v>
                </c:pt>
                <c:pt idx="2">
                  <c:v>0.1751242854139673</c:v>
                </c:pt>
                <c:pt idx="3">
                  <c:v>0.2455974692565589</c:v>
                </c:pt>
                <c:pt idx="4">
                  <c:v>0.25084663073746677</c:v>
                </c:pt>
                <c:pt idx="6">
                  <c:v>0.25066290100846561</c:v>
                </c:pt>
                <c:pt idx="7">
                  <c:v>0.25066290100846561</c:v>
                </c:pt>
                <c:pt idx="8">
                  <c:v>0.25066290100846561</c:v>
                </c:pt>
                <c:pt idx="9">
                  <c:v>0.262894193793919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7902137696853337</c:v>
                </c:pt>
                <c:pt idx="5">
                  <c:v>0.25084663073746671</c:v>
                </c:pt>
                <c:pt idx="10">
                  <c:v>0.262894193793919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7.0473183842591589E-2</c:v>
                </c:pt>
                <c:pt idx="3">
                  <c:v>5.2491614809078452E-3</c:v>
                </c:pt>
                <c:pt idx="8">
                  <c:v>1.223129278545436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8970915545660872E-3</c:v>
                </c:pt>
                <c:pt idx="6">
                  <c:v>1.8372972900109472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7902137696853337</c:v>
                </c:pt>
                <c:pt idx="5">
                  <c:v>0.25084663073746671</c:v>
                </c:pt>
                <c:pt idx="10">
                  <c:v>0.262894193793919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Huishoudens</c:v>
                </c:pt>
                <c:pt idx="5">
                  <c:v>Bijstandsontvangers</c:v>
                </c:pt>
                <c:pt idx="6">
                  <c:v>Omgevingsadressendichtheid</c:v>
                </c:pt>
                <c:pt idx="7">
                  <c:v>Minderheden</c:v>
                </c:pt>
                <c:pt idx="8">
                  <c:v>Klantenpotentieel lokaal</c:v>
                </c:pt>
                <c:pt idx="9">
                  <c:v>Ouderen</c:v>
                </c:pt>
                <c:pt idx="10">
                  <c:v>Overig</c:v>
                </c:pt>
              </c:strCache>
            </c:strRef>
          </c:cat>
          <c:val>
            <c:numRef>
              <c:f>Sheet1!$B$2:$B$12</c:f>
              <c:numCache>
                <c:formatCode>General</c:formatCode>
                <c:ptCount val="11"/>
                <c:pt idx="0">
                  <c:v>0.116602811</c:v>
                </c:pt>
                <c:pt idx="1">
                  <c:v>4.1827305520000004E-2</c:v>
                </c:pt>
                <c:pt idx="2">
                  <c:v>2.5091743976000003E-2</c:v>
                </c:pt>
                <c:pt idx="3">
                  <c:v>1.4896459759999999E-2</c:v>
                </c:pt>
                <c:pt idx="4">
                  <c:v>1.0780346720000002E-2</c:v>
                </c:pt>
                <c:pt idx="5">
                  <c:v>9.1788569600000005E-3</c:v>
                </c:pt>
                <c:pt idx="6">
                  <c:v>7.2888420259199999E-3</c:v>
                </c:pt>
                <c:pt idx="7">
                  <c:v>6.903228800000002E-3</c:v>
                </c:pt>
                <c:pt idx="8">
                  <c:v>6.0080852000000008E-3</c:v>
                </c:pt>
                <c:pt idx="9">
                  <c:v>5.7089947200000008E-3</c:v>
                </c:pt>
                <c:pt idx="10">
                  <c:v>1.860751911199995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7763408716000004</c:v>
                </c:pt>
                <c:pt idx="1">
                  <c:v>5.9632688460900001</c:v>
                </c:pt>
                <c:pt idx="2">
                  <c:v>6.25439649484000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2595700000000001</c:v>
                </c:pt>
                <c:pt idx="1">
                  <c:v>0.161551</c:v>
                </c:pt>
                <c:pt idx="2">
                  <c:v>0.1625649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9022978716000001</c:v>
                </c:pt>
                <c:pt idx="1">
                  <c:v>6.1248198460900003</c:v>
                </c:pt>
                <c:pt idx="2">
                  <c:v>6.41696149484000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185.60141536114907</c:v>
                </c:pt>
                <c:pt idx="2">
                  <c:v>201.24971455874953</c:v>
                </c:pt>
                <c:pt idx="3">
                  <c:v>187.55186088068186</c:v>
                </c:pt>
                <c:pt idx="4">
                  <c:v>191.87127732896695</c:v>
                </c:pt>
                <c:pt idx="5">
                  <c:v>227.59026946847817</c:v>
                </c:pt>
                <c:pt idx="7">
                  <c:v>202.06578055921912</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4.8241735414564664</c:v>
                </c:pt>
                <c:pt idx="2">
                  <c:v>3.3719470677047871</c:v>
                </c:pt>
                <c:pt idx="3">
                  <c:v>5.1408025568181817</c:v>
                </c:pt>
                <c:pt idx="4">
                  <c:v>4.1610598392378684</c:v>
                </c:pt>
                <c:pt idx="5">
                  <c:v>4.8479918960791322</c:v>
                </c:pt>
                <c:pt idx="7">
                  <c:v>4.3804503399599923</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190.42558890260551</c:v>
                </c:pt>
                <c:pt idx="2">
                  <c:v>204.62166162645431</c:v>
                </c:pt>
                <c:pt idx="3">
                  <c:v>192.69266343750002</c:v>
                </c:pt>
                <c:pt idx="4">
                  <c:v>196.03233716820483</c:v>
                </c:pt>
                <c:pt idx="5">
                  <c:v>232.43826136455729</c:v>
                </c:pt>
                <c:pt idx="7">
                  <c:v>206.44623089917911</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9022978716000001</c:v>
                </c:pt>
                <c:pt idx="2">
                  <c:v>5.9068782869222431</c:v>
                </c:pt>
                <c:pt idx="3">
                  <c:v>5.9068782869222431</c:v>
                </c:pt>
                <c:pt idx="4">
                  <c:v>6.0892258460899997</c:v>
                </c:pt>
                <c:pt idx="6">
                  <c:v>6.1248198460900003</c:v>
                </c:pt>
                <c:pt idx="7">
                  <c:v>6.1249551051563866</c:v>
                </c:pt>
                <c:pt idx="8">
                  <c:v>6.1249551051563866</c:v>
                </c:pt>
                <c:pt idx="9">
                  <c:v>6.4159474948400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7763408716000004</c:v>
                </c:pt>
                <c:pt idx="5">
                  <c:v>5.9632688460900001</c:v>
                </c:pt>
                <c:pt idx="10">
                  <c:v>6.254396494840000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4.5804153222431055E-3</c:v>
                </c:pt>
                <c:pt idx="3">
                  <c:v>0.18234755916775655</c:v>
                </c:pt>
                <c:pt idx="6">
                  <c:v>1.3525906638631524E-4</c:v>
                </c:pt>
                <c:pt idx="8">
                  <c:v>0.2909923896836144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2595700000000001</c:v>
                </c:pt>
                <c:pt idx="5">
                  <c:v>0.161551</c:v>
                </c:pt>
                <c:pt idx="10">
                  <c:v>0.1625649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5593999999999987E-2</c:v>
                </c:pt>
                <c:pt idx="9">
                  <c:v>1.0139999999999871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9022978716000001</c:v>
                </c:pt>
                <c:pt idx="5">
                  <c:v>6.1248198460900003</c:v>
                </c:pt>
                <c:pt idx="10">
                  <c:v>6.416961494840000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2.8143801285600007</c:v>
                </c:pt>
                <c:pt idx="1">
                  <c:v>1.73490079828</c:v>
                </c:pt>
                <c:pt idx="2">
                  <c:v>1.57134536</c:v>
                </c:pt>
                <c:pt idx="3">
                  <c:v>0.133770208</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8.47395803000421</c:v>
                </c:pt>
                <c:pt idx="1">
                  <c:v>-139.70978903555107</c:v>
                </c:pt>
                <c:pt idx="2">
                  <c:v>-131.7577995394385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8.47395803000421</c:v>
                </c:pt>
                <c:pt idx="1">
                  <c:v>-139.70978903555107</c:v>
                </c:pt>
                <c:pt idx="2">
                  <c:v>-131.7577995394385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6256499999999999</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7730420645802631</c:v>
                </c:pt>
                <c:pt idx="1">
                  <c:v>8.0784251640561564</c:v>
                </c:pt>
                <c:pt idx="2">
                  <c:v>8.491029188411987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0589000000000002E-2</c:v>
                </c:pt>
                <c:pt idx="1">
                  <c:v>5.0589000000000002E-2</c:v>
                </c:pt>
                <c:pt idx="2">
                  <c:v>5.0589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8236310645802636</c:v>
                </c:pt>
                <c:pt idx="1">
                  <c:v>8.1290141640561568</c:v>
                </c:pt>
                <c:pt idx="2">
                  <c:v>8.541618188411987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2.29460476302265</c:v>
                </c:pt>
                <c:pt idx="1">
                  <c:v>239.73010754514087</c:v>
                </c:pt>
                <c:pt idx="2">
                  <c:v>251.974277061308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5118343195266273</c:v>
                </c:pt>
                <c:pt idx="1">
                  <c:v>1.5012463647694225</c:v>
                </c:pt>
                <c:pt idx="2">
                  <c:v>1.501246364769422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3.80643908254928</c:v>
                </c:pt>
                <c:pt idx="1">
                  <c:v>241.2313539099103</c:v>
                </c:pt>
                <c:pt idx="2">
                  <c:v>253.4755234260783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251.97427706130892</c:v>
                </c:pt>
                <c:pt idx="2">
                  <c:v>378.26735636987695</c:v>
                </c:pt>
                <c:pt idx="3">
                  <c:v>233.11899576666761</c:v>
                </c:pt>
                <c:pt idx="4">
                  <c:v>296.58575999782272</c:v>
                </c:pt>
                <c:pt idx="5">
                  <c:v>242.76375771722834</c:v>
                </c:pt>
                <c:pt idx="7">
                  <c:v>287.68396746289892</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1.5012463647694225</c:v>
                </c:pt>
                <c:pt idx="2">
                  <c:v>3.9456763077651797</c:v>
                </c:pt>
                <c:pt idx="3">
                  <c:v>2.7637902462121211</c:v>
                </c:pt>
                <c:pt idx="4">
                  <c:v>3.6637689788627568</c:v>
                </c:pt>
                <c:pt idx="5">
                  <c:v>8.8832379930878318</c:v>
                </c:pt>
                <c:pt idx="7">
                  <c:v>4.8141183814819719</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253.47552342607835</c:v>
                </c:pt>
                <c:pt idx="2">
                  <c:v>382.2130326776421</c:v>
                </c:pt>
                <c:pt idx="3">
                  <c:v>235.88278601287973</c:v>
                </c:pt>
                <c:pt idx="4">
                  <c:v>300.2495289766855</c:v>
                </c:pt>
                <c:pt idx="5">
                  <c:v>251.64699571031616</c:v>
                </c:pt>
                <c:pt idx="7">
                  <c:v>292.49808584438085</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8236310645802636</c:v>
                </c:pt>
                <c:pt idx="2">
                  <c:v>7.8824862742166761</c:v>
                </c:pt>
                <c:pt idx="3">
                  <c:v>7.8824862742166761</c:v>
                </c:pt>
                <c:pt idx="4">
                  <c:v>8.1290141640561568</c:v>
                </c:pt>
                <c:pt idx="6">
                  <c:v>8.1290141640561568</c:v>
                </c:pt>
                <c:pt idx="7">
                  <c:v>8.1468417699086277</c:v>
                </c:pt>
                <c:pt idx="8">
                  <c:v>8.1468417699086277</c:v>
                </c:pt>
                <c:pt idx="9">
                  <c:v>8.541618188411987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7730420645802631</c:v>
                </c:pt>
                <c:pt idx="5">
                  <c:v>8.0784251640561564</c:v>
                </c:pt>
                <c:pt idx="10">
                  <c:v>8.491029188411987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2816327274391348E-2</c:v>
                </c:pt>
                <c:pt idx="3">
                  <c:v>0.24652788983948093</c:v>
                </c:pt>
                <c:pt idx="6">
                  <c:v>4.8368217189225779E-2</c:v>
                </c:pt>
                <c:pt idx="8">
                  <c:v>0.394776418503360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3.9611176379790091E-3</c:v>
                </c:pt>
                <c:pt idx="7">
                  <c:v>3.054061133675537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0589000000000002E-2</c:v>
                </c:pt>
                <c:pt idx="5">
                  <c:v>5.0589000000000002E-2</c:v>
                </c:pt>
                <c:pt idx="10">
                  <c:v>5.0589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8236310645802636</c:v>
                </c:pt>
                <c:pt idx="5">
                  <c:v>8.1290141640561568</c:v>
                </c:pt>
                <c:pt idx="10">
                  <c:v>8.541618188411987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pp. bebouwing kern *bodemfactor kern</c:v>
                </c:pt>
                <c:pt idx="2">
                  <c:v>Inwoners</c:v>
                </c:pt>
                <c:pt idx="3">
                  <c:v>Woonruimten * bodemfactor kern</c:v>
                </c:pt>
                <c:pt idx="4">
                  <c:v>Oppervlak bebouwing woonkernen</c:v>
                </c:pt>
                <c:pt idx="5">
                  <c:v>Land</c:v>
                </c:pt>
                <c:pt idx="6">
                  <c:v>Land * bodemfactor gemeente</c:v>
                </c:pt>
                <c:pt idx="7">
                  <c:v>Omgevingsadressendichtheid</c:v>
                </c:pt>
                <c:pt idx="8">
                  <c:v>Kernen * bodemfactor buiten kom</c:v>
                </c:pt>
                <c:pt idx="9">
                  <c:v>Bedrijfsvestigingen</c:v>
                </c:pt>
                <c:pt idx="10">
                  <c:v>Overig</c:v>
                </c:pt>
              </c:strCache>
            </c:strRef>
          </c:cat>
          <c:val>
            <c:numRef>
              <c:f>Sheet1!$B$2:$B$12</c:f>
              <c:numCache>
                <c:formatCode>General</c:formatCode>
                <c:ptCount val="11"/>
                <c:pt idx="0">
                  <c:v>1.4233313265600003</c:v>
                </c:pt>
                <c:pt idx="1">
                  <c:v>1.02593312328</c:v>
                </c:pt>
                <c:pt idx="2">
                  <c:v>0.88652159232000005</c:v>
                </c:pt>
                <c:pt idx="3">
                  <c:v>0.81889946580000006</c:v>
                </c:pt>
                <c:pt idx="4">
                  <c:v>0.75877123712000005</c:v>
                </c:pt>
                <c:pt idx="5">
                  <c:v>0.64757637984000005</c:v>
                </c:pt>
                <c:pt idx="6">
                  <c:v>0.58908263855999998</c:v>
                </c:pt>
                <c:pt idx="7">
                  <c:v>0.50826657341460002</c:v>
                </c:pt>
                <c:pt idx="8">
                  <c:v>0.43170875279999998</c:v>
                </c:pt>
                <c:pt idx="9">
                  <c:v>0.38434590376</c:v>
                </c:pt>
                <c:pt idx="10">
                  <c:v>1.016592194957386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5.0589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729917520854048</c:v>
                </c:pt>
                <c:pt idx="1">
                  <c:v>-1.3233870815754234</c:v>
                </c:pt>
                <c:pt idx="2">
                  <c:v>-1.3961116091056633</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729917520854048</c:v>
                </c:pt>
                <c:pt idx="1">
                  <c:v>-1.3233870815754234</c:v>
                </c:pt>
                <c:pt idx="2">
                  <c:v>-1.3961116091056633</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8.04290694176693</c:v>
                </c:pt>
                <c:pt idx="1">
                  <c:v>-39.271977018678363</c:v>
                </c:pt>
                <c:pt idx="2">
                  <c:v>-41.430102946930482</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8.04290694176693</c:v>
                </c:pt>
                <c:pt idx="1">
                  <c:v>-39.271977018678363</c:v>
                </c:pt>
                <c:pt idx="2">
                  <c:v>-41.430102946930482</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41.430102946930482</c:v>
                </c:pt>
                <c:pt idx="2">
                  <c:v>-52.593766056260897</c:v>
                </c:pt>
                <c:pt idx="3">
                  <c:v>-37.119705705520417</c:v>
                </c:pt>
                <c:pt idx="4">
                  <c:v>-43.900746916228158</c:v>
                </c:pt>
                <c:pt idx="5">
                  <c:v>-39.654695653339431</c:v>
                </c:pt>
                <c:pt idx="7">
                  <c:v>-43.317228582837231</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41.430102946930482</c:v>
                </c:pt>
                <c:pt idx="2">
                  <c:v>-52.593766056260897</c:v>
                </c:pt>
                <c:pt idx="3">
                  <c:v>-37.119705705520417</c:v>
                </c:pt>
                <c:pt idx="4">
                  <c:v>-43.900746916228158</c:v>
                </c:pt>
                <c:pt idx="5">
                  <c:v>-39.654695653339431</c:v>
                </c:pt>
                <c:pt idx="7">
                  <c:v>-43.317228582837231</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131.75779953943854</c:v>
                </c:pt>
                <c:pt idx="2">
                  <c:v>-181.78891726930934</c:v>
                </c:pt>
                <c:pt idx="3">
                  <c:v>-108.65290525804926</c:v>
                </c:pt>
                <c:pt idx="4">
                  <c:v>-156.77506713545696</c:v>
                </c:pt>
                <c:pt idx="5">
                  <c:v>-126.06830625074485</c:v>
                </c:pt>
                <c:pt idx="7">
                  <c:v>-143.3212989783901</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131.75779953943854</c:v>
                </c:pt>
                <c:pt idx="2">
                  <c:v>-181.78891726930934</c:v>
                </c:pt>
                <c:pt idx="3">
                  <c:v>-108.65290525804926</c:v>
                </c:pt>
                <c:pt idx="4">
                  <c:v>-156.77506713545696</c:v>
                </c:pt>
                <c:pt idx="5">
                  <c:v>-126.06830625074485</c:v>
                </c:pt>
                <c:pt idx="7">
                  <c:v>-143.3212989783901</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2829812343502929</c:v>
                </c:pt>
                <c:pt idx="2">
                  <c:v>-1.2829812343502929</c:v>
                </c:pt>
                <c:pt idx="3">
                  <c:v>-1.3233870815754234</c:v>
                </c:pt>
                <c:pt idx="4">
                  <c:v>-1.3233870815754234</c:v>
                </c:pt>
                <c:pt idx="6">
                  <c:v>-1.3311967542829499</c:v>
                </c:pt>
                <c:pt idx="7">
                  <c:v>-1.3311967542829499</c:v>
                </c:pt>
                <c:pt idx="8">
                  <c:v>-1.3961116091056633</c:v>
                </c:pt>
                <c:pt idx="9">
                  <c:v>-1.39611160910566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2729917520854048</c:v>
                </c:pt>
                <c:pt idx="5">
                  <c:v>-1.3233870815754234</c:v>
                </c:pt>
                <c:pt idx="10">
                  <c:v>-1.396111609105663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9894822648880239E-3</c:v>
                </c:pt>
                <c:pt idx="3">
                  <c:v>4.0405847225130541E-2</c:v>
                </c:pt>
                <c:pt idx="6">
                  <c:v>7.8096727075265904E-3</c:v>
                </c:pt>
                <c:pt idx="8">
                  <c:v>6.491485482271336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2729917520854048</c:v>
                </c:pt>
                <c:pt idx="5">
                  <c:v>-1.3233870815754234</c:v>
                </c:pt>
                <c:pt idx="10">
                  <c:v>-1.396111609105663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Omgevingsadressendichtheid</c:v>
                </c:pt>
                <c:pt idx="5">
                  <c:v>Land * bodemfactor gemeente</c:v>
                </c:pt>
                <c:pt idx="6">
                  <c:v>Oeverlengte *dichtheid *bodemf. gem.</c:v>
                </c:pt>
                <c:pt idx="7">
                  <c:v>Oeverlengte * bodemfactor gemeente</c:v>
                </c:pt>
                <c:pt idx="10">
                  <c:v>Overig</c:v>
                </c:pt>
              </c:strCache>
            </c:strRef>
          </c:cat>
          <c:val>
            <c:numRef>
              <c:f>Sheet1!$B$2:$B$12</c:f>
              <c:numCache>
                <c:formatCode>General</c:formatCode>
                <c:ptCount val="11"/>
                <c:pt idx="0">
                  <c:v>-1.6248086134800002</c:v>
                </c:pt>
                <c:pt idx="1">
                  <c:v>0.47478339168000006</c:v>
                </c:pt>
                <c:pt idx="2">
                  <c:v>-0.29713683272000002</c:v>
                </c:pt>
                <c:pt idx="3">
                  <c:v>-6.8396225040000022E-2</c:v>
                </c:pt>
                <c:pt idx="4">
                  <c:v>3.9307683782639997E-2</c:v>
                </c:pt>
                <c:pt idx="5">
                  <c:v>3.0168031920000001E-2</c:v>
                </c:pt>
                <c:pt idx="6">
                  <c:v>2.6682326271696703E-2</c:v>
                </c:pt>
                <c:pt idx="7">
                  <c:v>2.32886284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656728852107999</c:v>
                </c:pt>
                <c:pt idx="1">
                  <c:v>2.5561310765291996</c:v>
                </c:pt>
                <c:pt idx="2">
                  <c:v>2.69479287307567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656728852107999</c:v>
                </c:pt>
                <c:pt idx="1">
                  <c:v>2.5561310765291996</c:v>
                </c:pt>
                <c:pt idx="2">
                  <c:v>2.69479287307567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3.685759524559202</c:v>
                </c:pt>
                <c:pt idx="1">
                  <c:v>75.854088566953521</c:v>
                </c:pt>
                <c:pt idx="2">
                  <c:v>79.96892614029556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3.685759524559202</c:v>
                </c:pt>
                <c:pt idx="1">
                  <c:v>75.854088566953521</c:v>
                </c:pt>
                <c:pt idx="2">
                  <c:v>79.96892614029556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79.968926140295565</c:v>
                </c:pt>
                <c:pt idx="2">
                  <c:v>124.54906979994436</c:v>
                </c:pt>
                <c:pt idx="3">
                  <c:v>73.612593649550192</c:v>
                </c:pt>
                <c:pt idx="4">
                  <c:v>95.293856109646939</c:v>
                </c:pt>
                <c:pt idx="5">
                  <c:v>87.527387927183895</c:v>
                </c:pt>
                <c:pt idx="7">
                  <c:v>95.24572687158134</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79.968926140295565</c:v>
                </c:pt>
                <c:pt idx="2">
                  <c:v>124.54906979994436</c:v>
                </c:pt>
                <c:pt idx="3">
                  <c:v>73.612593649550192</c:v>
                </c:pt>
                <c:pt idx="4">
                  <c:v>95.293856109646939</c:v>
                </c:pt>
                <c:pt idx="5">
                  <c:v>87.527387927183895</c:v>
                </c:pt>
                <c:pt idx="7">
                  <c:v>95.24572687158134</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4656728852107999</c:v>
                </c:pt>
                <c:pt idx="2">
                  <c:v>2.4780199491275585</c:v>
                </c:pt>
                <c:pt idx="3">
                  <c:v>2.4780199491275585</c:v>
                </c:pt>
                <c:pt idx="4">
                  <c:v>2.5561310765291996</c:v>
                </c:pt>
                <c:pt idx="6">
                  <c:v>2.5561310765291996</c:v>
                </c:pt>
                <c:pt idx="7">
                  <c:v>2.5694771812738537</c:v>
                </c:pt>
                <c:pt idx="8">
                  <c:v>2.5694771812738537</c:v>
                </c:pt>
                <c:pt idx="9">
                  <c:v>2.69479287307567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4656728852107999</c:v>
                </c:pt>
                <c:pt idx="5">
                  <c:v>2.5561310765291996</c:v>
                </c:pt>
                <c:pt idx="10">
                  <c:v>2.69479287307567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2347063916758745E-2</c:v>
                </c:pt>
                <c:pt idx="3">
                  <c:v>7.8111127401640973E-2</c:v>
                </c:pt>
                <c:pt idx="6">
                  <c:v>1.3346104744654256E-2</c:v>
                </c:pt>
                <c:pt idx="8">
                  <c:v>0.12531569180182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4656728852107999</c:v>
                </c:pt>
                <c:pt idx="5">
                  <c:v>2.5561310765291996</c:v>
                </c:pt>
                <c:pt idx="10">
                  <c:v>2.69479287307567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Woz waarde niet woningen (in mln)</c:v>
                </c:pt>
                <c:pt idx="3">
                  <c:v>Omgevingsadressendichtheid</c:v>
                </c:pt>
                <c:pt idx="4">
                  <c:v>Land</c:v>
                </c:pt>
                <c:pt idx="5">
                  <c:v>Kernen</c:v>
                </c:pt>
                <c:pt idx="6">
                  <c:v>Opp. bebouwing totaal</c:v>
                </c:pt>
                <c:pt idx="7">
                  <c:v>Huishoudens laag inkomen (drempel)</c:v>
                </c:pt>
                <c:pt idx="8">
                  <c:v>Minderheden</c:v>
                </c:pt>
                <c:pt idx="9">
                  <c:v>Bedrijfsvestigingen</c:v>
                </c:pt>
                <c:pt idx="10">
                  <c:v>Overig</c:v>
                </c:pt>
              </c:strCache>
            </c:strRef>
          </c:cat>
          <c:val>
            <c:numRef>
              <c:f>Sheet1!$B$2:$B$12</c:f>
              <c:numCache>
                <c:formatCode>General</c:formatCode>
                <c:ptCount val="11"/>
                <c:pt idx="0">
                  <c:v>1.49414129592</c:v>
                </c:pt>
                <c:pt idx="1">
                  <c:v>0.35798264320000006</c:v>
                </c:pt>
                <c:pt idx="2">
                  <c:v>0.21151372788</c:v>
                </c:pt>
                <c:pt idx="3">
                  <c:v>0.17232905075567997</c:v>
                </c:pt>
                <c:pt idx="4">
                  <c:v>0.11030906328000002</c:v>
                </c:pt>
                <c:pt idx="5">
                  <c:v>9.1210055040000002E-2</c:v>
                </c:pt>
                <c:pt idx="6">
                  <c:v>5.8259485440000008E-2</c:v>
                </c:pt>
                <c:pt idx="7">
                  <c:v>4.7611757960000001E-2</c:v>
                </c:pt>
                <c:pt idx="8">
                  <c:v>4.7068949200000001E-2</c:v>
                </c:pt>
                <c:pt idx="9">
                  <c:v>3.4851601200000006E-2</c:v>
                </c:pt>
                <c:pt idx="10">
                  <c:v>6.951524320000013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5485013532759999</c:v>
                </c:pt>
                <c:pt idx="1">
                  <c:v>3.7065121451540004</c:v>
                </c:pt>
                <c:pt idx="2">
                  <c:v>3.8929863142846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5485013532759999</c:v>
                </c:pt>
                <c:pt idx="1">
                  <c:v>3.7065121451540004</c:v>
                </c:pt>
                <c:pt idx="2">
                  <c:v>3.89298631428460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6.04570418014464</c:v>
                </c:pt>
                <c:pt idx="1">
                  <c:v>109.99205131325301</c:v>
                </c:pt>
                <c:pt idx="2">
                  <c:v>115.5257378563891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6.04570418014464</c:v>
                </c:pt>
                <c:pt idx="1">
                  <c:v>109.99205131325301</c:v>
                </c:pt>
                <c:pt idx="2">
                  <c:v>115.525737856389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7098852936767379</c:v>
                </c:pt>
                <c:pt idx="2">
                  <c:v>-4.7098852936767379</c:v>
                </c:pt>
                <c:pt idx="3">
                  <c:v>-4.7079404709200006</c:v>
                </c:pt>
                <c:pt idx="4">
                  <c:v>-4.7079404709200006</c:v>
                </c:pt>
                <c:pt idx="6">
                  <c:v>-4.7270861577699534</c:v>
                </c:pt>
                <c:pt idx="7">
                  <c:v>-4.7270861577699534</c:v>
                </c:pt>
                <c:pt idx="8">
                  <c:v>-4.43997432888</c:v>
                </c:pt>
                <c:pt idx="9">
                  <c:v>-4.4399743288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6336155836000001</c:v>
                </c:pt>
                <c:pt idx="5">
                  <c:v>-4.7079404709200006</c:v>
                </c:pt>
                <c:pt idx="10">
                  <c:v>-4.4399743288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3270353984028553E-2</c:v>
                </c:pt>
                <c:pt idx="7">
                  <c:v>1.201789711566215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6269710076737843E-2</c:v>
                </c:pt>
                <c:pt idx="3">
                  <c:v>5.1325531227291138E-2</c:v>
                </c:pt>
                <c:pt idx="6">
                  <c:v>1.914568684995319E-2</c:v>
                </c:pt>
                <c:pt idx="8">
                  <c:v>0.9146778826762611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6336155836000001</c:v>
                </c:pt>
                <c:pt idx="5">
                  <c:v>-4.7079404709200006</c:v>
                </c:pt>
                <c:pt idx="10">
                  <c:v>-4.4399743288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C$2:$C$10</c:f>
              <c:numCache>
                <c:formatCode>General</c:formatCode>
                <c:ptCount val="9"/>
                <c:pt idx="0">
                  <c:v>115.52573785638913</c:v>
                </c:pt>
                <c:pt idx="2">
                  <c:v>128.01065751829242</c:v>
                </c:pt>
                <c:pt idx="3">
                  <c:v>112.16027958250474</c:v>
                </c:pt>
                <c:pt idx="4">
                  <c:v>118.38603572518008</c:v>
                </c:pt>
                <c:pt idx="5">
                  <c:v>112.92309347544987</c:v>
                </c:pt>
                <c:pt idx="7">
                  <c:v>117.87001657535679</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ynaarlo</c:v>
                </c:pt>
                <c:pt idx="2">
                  <c:v>Schouwen-Duiveland</c:v>
                </c:pt>
                <c:pt idx="3">
                  <c:v>Twenterand</c:v>
                </c:pt>
                <c:pt idx="4">
                  <c:v>Lochem</c:v>
                </c:pt>
                <c:pt idx="5">
                  <c:v>Meppel</c:v>
                </c:pt>
                <c:pt idx="7">
                  <c:v>4 gemeenten</c:v>
                </c:pt>
                <c:pt idx="8">
                  <c:v>Landelijk</c:v>
                </c:pt>
              </c:strCache>
            </c:strRef>
          </c:cat>
          <c:val>
            <c:numRef>
              <c:f>Sheet1!$B$2:$B$10</c:f>
              <c:numCache>
                <c:formatCode>General</c:formatCode>
                <c:ptCount val="9"/>
                <c:pt idx="0">
                  <c:v>115.52573785638913</c:v>
                </c:pt>
                <c:pt idx="2">
                  <c:v>128.01065751829242</c:v>
                </c:pt>
                <c:pt idx="3">
                  <c:v>112.16027958250474</c:v>
                </c:pt>
                <c:pt idx="4">
                  <c:v>118.38603572518008</c:v>
                </c:pt>
                <c:pt idx="5">
                  <c:v>112.92309347544987</c:v>
                </c:pt>
                <c:pt idx="7">
                  <c:v>117.87001657535679</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5485013532759999</c:v>
                </c:pt>
                <c:pt idx="2">
                  <c:v>3.5789003136392314</c:v>
                </c:pt>
                <c:pt idx="3">
                  <c:v>3.5934988445969891</c:v>
                </c:pt>
                <c:pt idx="4">
                  <c:v>3.7065121451540004</c:v>
                </c:pt>
                <c:pt idx="6">
                  <c:v>3.7065121451540004</c:v>
                </c:pt>
                <c:pt idx="7">
                  <c:v>3.7118685177554971</c:v>
                </c:pt>
                <c:pt idx="8">
                  <c:v>3.7118685177554971</c:v>
                </c:pt>
                <c:pt idx="9">
                  <c:v>3.89298631428460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5485013532759999</c:v>
                </c:pt>
                <c:pt idx="5">
                  <c:v>3.7065121451540004</c:v>
                </c:pt>
                <c:pt idx="10">
                  <c:v>3.89298631428460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0398960363231704E-2</c:v>
                </c:pt>
                <c:pt idx="2">
                  <c:v>1.459853095775771E-2</c:v>
                </c:pt>
                <c:pt idx="3">
                  <c:v>0.1130133005570111</c:v>
                </c:pt>
                <c:pt idx="6">
                  <c:v>6.9123652855504515E-3</c:v>
                </c:pt>
                <c:pt idx="8">
                  <c:v>0.1811177965291033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5559926840536054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5485013532759999</c:v>
                </c:pt>
                <c:pt idx="5">
                  <c:v>3.7065121451540004</c:v>
                </c:pt>
                <c:pt idx="10">
                  <c:v>3.89298631428460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Klantenpotentieel regionaal</c:v>
                </c:pt>
                <c:pt idx="5">
                  <c:v>Bedrijfsvestigingen</c:v>
                </c:pt>
                <c:pt idx="6">
                  <c:v>Land</c:v>
                </c:pt>
                <c:pt idx="7">
                  <c:v>Minderheden</c:v>
                </c:pt>
                <c:pt idx="8">
                  <c:v>Minderheden (drempel)</c:v>
                </c:pt>
                <c:pt idx="10">
                  <c:v>Overig</c:v>
                </c:pt>
              </c:strCache>
            </c:strRef>
          </c:cat>
          <c:val>
            <c:numRef>
              <c:f>Sheet1!$B$2:$B$12</c:f>
              <c:numCache>
                <c:formatCode>General</c:formatCode>
                <c:ptCount val="11"/>
                <c:pt idx="0">
                  <c:v>2.7720096112800001</c:v>
                </c:pt>
                <c:pt idx="1">
                  <c:v>0.84309711720000013</c:v>
                </c:pt>
                <c:pt idx="2">
                  <c:v>0.28248488112000003</c:v>
                </c:pt>
                <c:pt idx="3">
                  <c:v>-4.4904473195400002E-2</c:v>
                </c:pt>
                <c:pt idx="4">
                  <c:v>-3.9827039200000004E-2</c:v>
                </c:pt>
                <c:pt idx="5">
                  <c:v>3.9804197160000006E-2</c:v>
                </c:pt>
                <c:pt idx="6">
                  <c:v>2.3259322320000005E-2</c:v>
                </c:pt>
                <c:pt idx="7">
                  <c:v>1.7062697600000003E-2</c:v>
                </c:pt>
                <c:pt idx="9">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2.8819787999999997</c:v>
                </c:pt>
                <c:pt idx="1">
                  <c:v>-0.68110020888</c:v>
                </c:pt>
                <c:pt idx="2">
                  <c:v>-0.49329399000000007</c:v>
                </c:pt>
                <c:pt idx="3">
                  <c:v>-0.43996491000000004</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381538872725344</c:v>
                </c:pt>
                <c:pt idx="1">
                  <c:v>3.2839776919076207</c:v>
                </c:pt>
                <c:pt idx="2">
                  <c:v>3.43606525720536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5978999999999995E-2</c:v>
                </c:pt>
                <c:pt idx="1">
                  <c:v>0.341526</c:v>
                </c:pt>
                <c:pt idx="2">
                  <c:v>0.365773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6341328872725343</c:v>
                </c:pt>
                <c:pt idx="1">
                  <c:v>3.6255036919076207</c:v>
                </c:pt>
                <c:pt idx="2">
                  <c:v>3.80183825720536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46.890355607158313</cx:pt>
          <cx:pt idx="1">-4.43997432888</cx:pt>
          <cx:pt idx="2">42.450381278278314</cx:pt>
          <cx:pt idx="3">2.4460119999999961</cx:pt>
          <cx:pt idx="4">44.89639327827831</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Tynaarlo</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Tynaarlo is ca. 45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7957966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4,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2,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6,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Tynaarlo is ca. 45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024544634"/>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1288098184"/>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2868954331"/>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92814273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9,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Tynaarlo is ca. 45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72722383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6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3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02,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4,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Tynaarlo ca. 1.332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614249510"/>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Tynaarlo</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3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336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8459374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37235053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997500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2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27257659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2770575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77601310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1837260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153712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38416301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64866156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72904231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7407381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7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2497713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94528053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2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4944536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5932091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22914854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0276909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74240454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8642185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843959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6317167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35160698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8254955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262983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3632947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9029547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6932969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60503818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98935337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01140580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98914376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54142683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7679277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7.828</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7.05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7.05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95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1760518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8394579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2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4354292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0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6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97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5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10186148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2547260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3179913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42769190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hulp kinderen AZC</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6258927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80609270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95883409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5181435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28883090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65144852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2182250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0589544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4138564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7129809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9340357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8922764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7587118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99542237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45798334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7.828</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7.05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7.05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5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87607659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3821595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16931658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0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6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0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97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5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55457132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1891374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3656465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99903262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05377872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6779640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28495620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66047996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19828549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3483792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7266162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0482104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72865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88808238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5760766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68607368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2810986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3649475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4562069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19556296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06799529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0544721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8729155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9567234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4489218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60100386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751995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77689033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7268864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9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1333106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58380635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7254653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51324582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48851196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3360842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1361942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6969101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88286860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02106256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99312981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54286193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14937858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324408440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9491045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5594105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13397288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3521128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9496550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3899814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12301642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1282312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7736355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Tynaarlo,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4049454368"/>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4,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65940158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0552841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19881264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74430991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0323251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8374766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13173935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1414578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3.46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3.69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4064547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6500936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6527898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6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79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6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4.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05782207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28915295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5245414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9038676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0416776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Tynaarlo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22660745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9,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4,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Tynaarlo is ca. 45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291256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6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3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102</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Tynaarlo ca. 1.332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2247671112"/>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Tynaarlo</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33.698</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Schouwen-Duiveland</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3.77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Twenterand</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3.79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Lochem</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3.59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Meppe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3.564</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830917512"/>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Tynaarlo</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3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36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Tynaarlo</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3690734939"/>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636345917"/>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4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6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6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Tynaarlo,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17</Words>
  <Application>Microsoft Office PowerPoint</Application>
  <PresentationFormat>Widescreen</PresentationFormat>
  <Paragraphs>2184</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Tynaarlo is ca. 45 mln (1/3)</vt:lpstr>
      <vt:lpstr>Totale uitkering voor Tynaarlo is ca. 45 mln (2/3)</vt:lpstr>
      <vt:lpstr>Totale uitkering voor Tynaarlo is ca. 45 mln (3/3)</vt:lpstr>
      <vt:lpstr>Per inwoner ontvangt Tynaarlo ca. 1.332 euro</vt:lpstr>
      <vt:lpstr>Dit is ca. 336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Tynaarlo is ca. 45 mln</vt:lpstr>
      <vt:lpstr>Per inwoner ontvangt Tynaarlo ca. 1.332 euro</vt:lpstr>
      <vt:lpstr>Dit is ca. €336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11:01:06Z</dcterms:modified>
</cp:coreProperties>
</file>